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4011" r:id="rId9"/>
  </p:sldMasterIdLst>
  <p:notesMasterIdLst>
    <p:notesMasterId r:id="rId19"/>
  </p:notesMasterIdLst>
  <p:handoutMasterIdLst>
    <p:handoutMasterId r:id="rId20"/>
  </p:handoutMasterIdLst>
  <p:sldIdLst>
    <p:sldId id="2147482497" r:id="rId10"/>
    <p:sldId id="2147482499" r:id="rId11"/>
    <p:sldId id="2147482509" r:id="rId12"/>
    <p:sldId id="2147482510" r:id="rId13"/>
    <p:sldId id="2147482511" r:id="rId14"/>
    <p:sldId id="2147482513" r:id="rId15"/>
    <p:sldId id="2147482512" r:id="rId16"/>
    <p:sldId id="2147482514" r:id="rId17"/>
    <p:sldId id="2147482508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7"/>
            <p14:sldId id="2147482499"/>
            <p14:sldId id="2147482509"/>
            <p14:sldId id="2147482510"/>
            <p14:sldId id="2147482511"/>
            <p14:sldId id="2147482513"/>
            <p14:sldId id="2147482512"/>
            <p14:sldId id="2147482514"/>
            <p14:sldId id="21474825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FDB"/>
    <a:srgbClr val="FFE050"/>
    <a:srgbClr val="FFED5E"/>
    <a:srgbClr val="02ABB1"/>
    <a:srgbClr val="00666F"/>
    <a:srgbClr val="FCFCC2"/>
    <a:srgbClr val="ADFF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45B2A2-7A3B-485D-B775-B53179733AD8}" v="7" dt="2024-11-01T16:31:31.0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47" autoAdjust="0"/>
    <p:restoredTop sz="80017" autoAdjust="0"/>
  </p:normalViewPr>
  <p:slideViewPr>
    <p:cSldViewPr snapToGrid="0">
      <p:cViewPr varScale="1">
        <p:scale>
          <a:sx n="206" d="100"/>
          <a:sy n="206" d="100"/>
        </p:scale>
        <p:origin x="402" y="168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4/3/2025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4/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32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775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7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physionet.org/content/incartdb/1.0.0/" TargetMode="Externa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023D56D-2602-1CA4-D934-27C1FEA954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625C764-DDCB-4F05-7113-2932D8159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37346D-2BA7-B9D4-6229-2291F2EA0D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0D8A56-E6CD-5FD7-E320-F1D29502F0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Thoughts on datasets and computational load reduction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8B594E9-6228-DC14-39DA-DF89DB34ED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2" hidden="1">
            <a:extLst>
              <a:ext uri="{FF2B5EF4-FFF2-40B4-BE49-F238E27FC236}">
                <a16:creationId xmlns:a16="http://schemas.microsoft.com/office/drawing/2014/main" id="{0747556C-BFCF-7ED2-06D4-00F0C3CF9E8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-719138"/>
            <a:ext cx="8132763" cy="1714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alpha val="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esentation cover slide example: Vertical white logo on blue background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7555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C4294F-C888-C3A2-8CE8-5035923821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BX05 proposed:</a:t>
            </a:r>
          </a:p>
          <a:p>
            <a:pPr lvl="1"/>
            <a:r>
              <a:rPr lang="en-US" dirty="0"/>
              <a:t>3 additional datasets for 24bit EEG dataset</a:t>
            </a:r>
          </a:p>
          <a:p>
            <a:pPr lvl="1"/>
            <a:r>
              <a:rPr lang="en-US" dirty="0"/>
              <a:t>Reducing the number of files used per dataset to reduce the overall computational load.</a:t>
            </a:r>
          </a:p>
          <a:p>
            <a:pPr lvl="1"/>
            <a:endParaRPr lang="en-US" dirty="0"/>
          </a:p>
          <a:p>
            <a:r>
              <a:rPr lang="en-US" dirty="0"/>
              <a:t>A discussion between interested parties from Fraunhofer HHI, Dolby, ETRI and Philips resulted in:</a:t>
            </a:r>
          </a:p>
          <a:p>
            <a:pPr lvl="1"/>
            <a:r>
              <a:rPr lang="en-US" dirty="0"/>
              <a:t>Suggestion to evaluate the three datasets further, and propose one for inclusion, consult with </a:t>
            </a:r>
            <a:r>
              <a:rPr lang="en-US" dirty="0" err="1"/>
              <a:t>Dicom</a:t>
            </a:r>
            <a:r>
              <a:rPr lang="en-US" dirty="0"/>
              <a:t>.</a:t>
            </a:r>
          </a:p>
          <a:p>
            <a:pPr lvl="2"/>
            <a:r>
              <a:rPr lang="en-US" dirty="0">
                <a:highlight>
                  <a:srgbClr val="FFFF00"/>
                </a:highlight>
              </a:rPr>
              <a:t>Defer to next meeting</a:t>
            </a:r>
          </a:p>
          <a:p>
            <a:pPr lvl="1"/>
            <a:r>
              <a:rPr lang="en-US" dirty="0"/>
              <a:t>Reduce the number of files used in the EEG datasets by 50%</a:t>
            </a:r>
          </a:p>
          <a:p>
            <a:pPr lvl="1"/>
            <a:r>
              <a:rPr lang="en-US" dirty="0"/>
              <a:t>Reduce the number of operating points evaluated in the EEG datasets in the low BPS range.</a:t>
            </a:r>
          </a:p>
          <a:p>
            <a:pPr lvl="1"/>
            <a:r>
              <a:rPr lang="en-US" dirty="0"/>
              <a:t>Include an additional ECG dataset including 12-lead data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level summary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91B475-6549-6144-292A-223937D4EB0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13A0CB-AB6A-2691-4E81-5F61F2A6193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93E210-F274-AC89-79DB-81CD6A0A51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3 datasets were suggested, that all contain EEG data in the BDF file format.</a:t>
            </a:r>
          </a:p>
          <a:p>
            <a:pPr lvl="1"/>
            <a:r>
              <a:rPr lang="en-GB" dirty="0"/>
              <a:t>Concerns were raised that while the data is contained in a 24-bit file format, it may not be using the 24-bit range.</a:t>
            </a:r>
          </a:p>
          <a:p>
            <a:pPr lvl="1"/>
            <a:r>
              <a:rPr lang="en-GB" dirty="0"/>
              <a:t>Agreed to further study the datasets to ensure that they are making sufficient use of the 24-bit data range.</a:t>
            </a:r>
          </a:p>
          <a:p>
            <a:pPr lvl="1"/>
            <a:r>
              <a:rPr lang="en-GB" dirty="0"/>
              <a:t>As the current encoder cannot load the BDF files, selection of the data can happen while the addition of file support is added to the encoder in parallel.</a:t>
            </a:r>
          </a:p>
          <a:p>
            <a:pPr lvl="1"/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CBE35C7-7209-CC45-7399-37DDB01FA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tential Datasets.</a:t>
            </a:r>
          </a:p>
        </p:txBody>
      </p:sp>
    </p:spTree>
    <p:extLst>
      <p:ext uri="{BB962C8B-B14F-4D97-AF65-F5344CB8AC3E}">
        <p14:creationId xmlns:p14="http://schemas.microsoft.com/office/powerpoint/2010/main" val="131395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903B1A5-6C91-96CF-8ACD-0AD2F39A427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DC8E83-500E-1E38-9FE7-B1158CD7CC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C8EC7-FFA2-26FE-33CF-E0A42B6D6E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ETRI provided an overview of their encoding times.</a:t>
            </a:r>
          </a:p>
          <a:p>
            <a:r>
              <a:rPr lang="en-GB" dirty="0"/>
              <a:t>Broadly this is inline with the experience of others, though Fraunhofer HHI report significantly lower times for NMR55 (Still in the order of days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1A53A6-4583-FE13-CA2E-5A26BA71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Reduct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C71B223-7023-E03A-AE68-9F10D52FD8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731078"/>
              </p:ext>
            </p:extLst>
          </p:nvPr>
        </p:nvGraphicFramePr>
        <p:xfrm>
          <a:off x="1821082" y="2416133"/>
          <a:ext cx="5135300" cy="14555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27060">
                  <a:extLst>
                    <a:ext uri="{9D8B030D-6E8A-4147-A177-3AD203B41FA5}">
                      <a16:colId xmlns:a16="http://schemas.microsoft.com/office/drawing/2014/main" val="1617530028"/>
                    </a:ext>
                  </a:extLst>
                </a:gridCol>
                <a:gridCol w="1027060">
                  <a:extLst>
                    <a:ext uri="{9D8B030D-6E8A-4147-A177-3AD203B41FA5}">
                      <a16:colId xmlns:a16="http://schemas.microsoft.com/office/drawing/2014/main" val="2490249285"/>
                    </a:ext>
                  </a:extLst>
                </a:gridCol>
                <a:gridCol w="1027060">
                  <a:extLst>
                    <a:ext uri="{9D8B030D-6E8A-4147-A177-3AD203B41FA5}">
                      <a16:colId xmlns:a16="http://schemas.microsoft.com/office/drawing/2014/main" val="2046937294"/>
                    </a:ext>
                  </a:extLst>
                </a:gridCol>
                <a:gridCol w="1027060">
                  <a:extLst>
                    <a:ext uri="{9D8B030D-6E8A-4147-A177-3AD203B41FA5}">
                      <a16:colId xmlns:a16="http://schemas.microsoft.com/office/drawing/2014/main" val="3045014699"/>
                    </a:ext>
                  </a:extLst>
                </a:gridCol>
                <a:gridCol w="1027060">
                  <a:extLst>
                    <a:ext uri="{9D8B030D-6E8A-4147-A177-3AD203B41FA5}">
                      <a16:colId xmlns:a16="http://schemas.microsoft.com/office/drawing/2014/main" val="1889563870"/>
                    </a:ext>
                  </a:extLst>
                </a:gridCol>
              </a:tblGrid>
              <a:tr h="52152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Dataset Nam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Category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No. of Files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Total Siz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rocessing Time @ 32 Cores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94769116"/>
                  </a:ext>
                </a:extLst>
              </a:tr>
              <a:tr h="186815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MIT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C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4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768 MB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&lt; 1 hour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4097829"/>
                  </a:ext>
                </a:extLst>
              </a:tr>
              <a:tr h="186815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CHBMI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E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137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7.3 GB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~1.5 Days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71392479"/>
                  </a:ext>
                </a:extLst>
              </a:tr>
              <a:tr h="186815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NMR55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E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254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34 GB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~6 days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63143009"/>
                  </a:ext>
                </a:extLst>
              </a:tr>
              <a:tr h="186815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NMR57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E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5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35 GB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~6 days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97729310"/>
                  </a:ext>
                </a:extLst>
              </a:tr>
              <a:tr h="186815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zdemir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M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39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284 MB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&lt; 1 hour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189964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322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691131-8A15-2D6D-17A5-F3F501E60B4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AB5836-8AED-8D08-FE35-4BCF0B69BC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3797BE-F4C0-969F-6A8A-C2C4532B85F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0062" y="1001210"/>
            <a:ext cx="8138160" cy="3694853"/>
          </a:xfrm>
        </p:spPr>
        <p:txBody>
          <a:bodyPr/>
          <a:lstStyle/>
          <a:p>
            <a:r>
              <a:rPr lang="en-GB" dirty="0"/>
              <a:t>It was agreed to reduce the number of files used in the EEG datasets by half with the caveats:</a:t>
            </a:r>
          </a:p>
          <a:p>
            <a:pPr lvl="1"/>
            <a:r>
              <a:rPr lang="en-GB" dirty="0"/>
              <a:t>Maintain the balance of ‘headband’ and ‘</a:t>
            </a:r>
            <a:r>
              <a:rPr lang="en-GB" dirty="0" err="1"/>
              <a:t>psg</a:t>
            </a:r>
            <a:r>
              <a:rPr lang="en-GB" dirty="0"/>
              <a:t>’ recordings in the NMR55 dataset.</a:t>
            </a:r>
          </a:p>
          <a:p>
            <a:pPr lvl="1"/>
            <a:r>
              <a:rPr lang="en-GB" dirty="0"/>
              <a:t>Maintain the balance of ‘monopolar’ and ‘bipolar’ recordings in the NMR57 dataset.</a:t>
            </a:r>
          </a:p>
          <a:p>
            <a:pPr lvl="1"/>
            <a:r>
              <a:rPr lang="en-GB" dirty="0"/>
              <a:t>Ensure that the randomly selected files have a comparable performance </a:t>
            </a:r>
            <a:r>
              <a:rPr lang="en-GB" dirty="0" err="1"/>
              <a:t>w.r.t.</a:t>
            </a:r>
            <a:r>
              <a:rPr lang="en-GB" dirty="0"/>
              <a:t> the rate distortion curve as the full set (e.g. no significant BD change between the subset and full set)</a:t>
            </a:r>
          </a:p>
          <a:p>
            <a:pPr lvl="1"/>
            <a:r>
              <a:rPr lang="en-GB" dirty="0"/>
              <a:t>Maintain balance of clinically relevant features.</a:t>
            </a:r>
          </a:p>
          <a:p>
            <a:endParaRPr lang="en-GB" dirty="0"/>
          </a:p>
          <a:p>
            <a:r>
              <a:rPr lang="en-GB" dirty="0"/>
              <a:t>Additionally, reduce the number of operating points evaluated in the EEG datasets at the high compression ratios.</a:t>
            </a:r>
          </a:p>
          <a:p>
            <a:pPr lvl="1"/>
            <a:r>
              <a:rPr lang="en-GB" dirty="0"/>
              <a:t>At this point the difference in bitrate and error is small, and densely sampled.</a:t>
            </a:r>
          </a:p>
          <a:p>
            <a:pPr lvl="1"/>
            <a:r>
              <a:rPr lang="en-GB" dirty="0"/>
              <a:t>Currently (21 working points): </a:t>
            </a:r>
          </a:p>
          <a:p>
            <a:pPr lvl="2"/>
            <a:r>
              <a:rPr lang="en-US" dirty="0" err="1"/>
              <a:t>QP_Step_Sizes</a:t>
            </a:r>
            <a:r>
              <a:rPr lang="en-US" dirty="0"/>
              <a:t> =[1, 1.125, 1.5, 2, 3, 4, 5.5, 7, 9, 11, 13.5, 16, 22, 33, 44, 55, 66, 77, 88, 99, 110]</a:t>
            </a:r>
          </a:p>
          <a:p>
            <a:pPr lvl="1"/>
            <a:r>
              <a:rPr lang="en-US" dirty="0"/>
              <a:t>Proposed (17 working points, reduction of ~20%):</a:t>
            </a:r>
          </a:p>
          <a:p>
            <a:pPr lvl="2"/>
            <a:r>
              <a:rPr lang="en-US" dirty="0" err="1"/>
              <a:t>QP_Step_Sizes</a:t>
            </a:r>
            <a:r>
              <a:rPr lang="en-US" dirty="0"/>
              <a:t> =[1, 1.125, 1.5, 2, 3, 4, 5.5, 7, 9, 11, 13.5, 16, 22, 44, 66, 88, 110]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64257D0-8CE7-36E2-36D4-4C0FEEC15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Reduction</a:t>
            </a:r>
          </a:p>
        </p:txBody>
      </p:sp>
    </p:spTree>
    <p:extLst>
      <p:ext uri="{BB962C8B-B14F-4D97-AF65-F5344CB8AC3E}">
        <p14:creationId xmlns:p14="http://schemas.microsoft.com/office/powerpoint/2010/main" val="123547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00F7C2-EC44-8F0B-7170-AF6EC83B118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9B7DE3-22F5-0861-206B-F0A4D489D7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66C840-04D8-6B0C-A036-E3BCF57422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9CFE108-9483-54FF-BBCA-49C58F053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Reduc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2321549-ACD1-2C87-A656-A33CB5455A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747325" y="739785"/>
            <a:ext cx="5643634" cy="418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2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598765-A14C-32B1-3D13-62D62BB2584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0B4BAB-0654-0086-3DA5-69D7C6ABB8D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C6711C-BCF2-2502-3CDF-13C54B354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0062" y="1211263"/>
            <a:ext cx="4598586" cy="3484800"/>
          </a:xfrm>
        </p:spPr>
        <p:txBody>
          <a:bodyPr/>
          <a:lstStyle/>
          <a:p>
            <a:r>
              <a:rPr lang="en-GB" dirty="0"/>
              <a:t>It was noted in the discussion that adding an additional EEG dataset puts a heavy emphasis on EEG data.</a:t>
            </a:r>
          </a:p>
          <a:p>
            <a:r>
              <a:rPr lang="en-GB" dirty="0"/>
              <a:t>ECG data is an important use-case so additional datasets would be beneficial.</a:t>
            </a:r>
          </a:p>
          <a:p>
            <a:r>
              <a:rPr lang="en-GB" dirty="0"/>
              <a:t>One set that could be used is the St Petersburg INCART dataset:</a:t>
            </a:r>
          </a:p>
          <a:p>
            <a:pPr lvl="1"/>
            <a:r>
              <a:rPr lang="en-GB" dirty="0">
                <a:hlinkClick r:id="rId2"/>
              </a:rPr>
              <a:t>https://physionet.org/content/incartdb/1.0.0/</a:t>
            </a:r>
            <a:r>
              <a:rPr lang="en-GB" dirty="0"/>
              <a:t> </a:t>
            </a:r>
          </a:p>
          <a:p>
            <a:pPr lvl="1"/>
            <a:r>
              <a:rPr lang="en-GB" dirty="0"/>
              <a:t>12-lead compared to the current 2-lead data.</a:t>
            </a:r>
          </a:p>
          <a:p>
            <a:pPr lvl="1"/>
            <a:r>
              <a:rPr lang="en-GB" dirty="0"/>
              <a:t>75 recordings of 30 minutes each</a:t>
            </a:r>
          </a:p>
          <a:p>
            <a:pPr lvl="1"/>
            <a:r>
              <a:rPr lang="en-GB" dirty="0"/>
              <a:t>257Hz Sample rate.</a:t>
            </a:r>
          </a:p>
          <a:p>
            <a:pPr lvl="1"/>
            <a:r>
              <a:rPr lang="en-GB" dirty="0"/>
              <a:t>Variation in coronary artery diseases.</a:t>
            </a:r>
          </a:p>
          <a:p>
            <a:pPr lvl="1"/>
            <a:r>
              <a:rPr lang="en-GB" dirty="0"/>
              <a:t>Data is provided in WFDB format and needs conversion to EDF – one company should provide the converted data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919A66-48D2-859A-F690-2F830DB7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itional ECG Dat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2B4794-4080-0E33-2546-8450CDB807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8648" y="1674384"/>
            <a:ext cx="4400959" cy="2353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57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99C2C3-E071-8738-29FD-C3B1E06082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1B07D1-C001-3906-7B10-BBD9AD1E3BB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286516-B2C3-3E60-6B61-2D4B65E2B9B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0062" y="895632"/>
            <a:ext cx="8138160" cy="3484800"/>
          </a:xfrm>
        </p:spPr>
        <p:txBody>
          <a:bodyPr/>
          <a:lstStyle/>
          <a:p>
            <a:r>
              <a:rPr lang="en-GB" dirty="0"/>
              <a:t>INCARTDB – Default Encoder tuning. QP = 1 and 1.125 both return lossless performanc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6C2675-C7BB-E9A5-C5E4-DC6BA7AFD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itional ECG Dat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7B3C6F-8712-1455-30B3-D50C0193CF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912" y="1211263"/>
            <a:ext cx="7946460" cy="3630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72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0" tIns="0" rIns="0" bIns="0" rtlCol="0" anchor="ctr"/>
      <a:lstStyle>
        <a:defPPr algn="ctr">
          <a:spcAft>
            <a:spcPts val="6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0" tIns="0" rIns="0" bIns="0" rtlCol="0">
        <a:no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DA48BB3-A2F8-5147-98FB-30E02B1C7AEF}">
  <we:reference id="54c7af0c-5b65-49a9-ab86-f2a8a4690127" version="2.0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TemplafySlideTemplateConfiguration><![CDATA[{"slideVersion":4,"isValidatorEnabled":false,"isLocked":false,"elementsMetadata":[],"slideId":"1041581366638542848","enableDocumentContentUpdater":false,"version":"2.0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4,"isValidatorEnabled":false,"isLocked":false,"elementsMetadata":[],"slideId":"1041581366638542853","enableDocumentContentUpdater":false,"version":"2.0"}]]></TemplafySlideTemplateConfiguration>
</file>

<file path=customXml/item4.xml><?xml version="1.0" encoding="utf-8"?>
<TemplafyTemplateConfiguration><![CDATA[{"elementsMetadata":[],"transformationConfigurations":[],"templateName":"Philips Master Template","templateDescription":"","enableDocumentContentUpdater":false,"version":"2.0"}]]></Templafy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4,"isValidatorEnabled":false,"isLocked":false,"elementsMetadata":[],"slideId":"1041581366638542852","enableDocumentContentUpdater":false,"version":"2.0"}]]></TemplafySlideTemplateConfiguration>
</file>

<file path=customXml/item8.xml><?xml version="1.0" encoding="utf-8"?>
<TemplafyFormConfiguration><![CDATA[{"formFields":[],"formDataEntries":[]}]]></TemplafyFormConfiguration>
</file>

<file path=customXml/itemProps1.xml><?xml version="1.0" encoding="utf-8"?>
<ds:datastoreItem xmlns:ds="http://schemas.openxmlformats.org/officeDocument/2006/customXml" ds:itemID="{12862C41-9AA5-4054-B274-571189BF0734}">
  <ds:schemaRefs/>
</ds:datastoreItem>
</file>

<file path=customXml/itemProps2.xml><?xml version="1.0" encoding="utf-8"?>
<ds:datastoreItem xmlns:ds="http://schemas.openxmlformats.org/officeDocument/2006/customXml" ds:itemID="{6BF8525C-62B9-4321-91B7-FFEFD4A5025A}">
  <ds:schemaRefs/>
</ds:datastoreItem>
</file>

<file path=customXml/itemProps3.xml><?xml version="1.0" encoding="utf-8"?>
<ds:datastoreItem xmlns:ds="http://schemas.openxmlformats.org/officeDocument/2006/customXml" ds:itemID="{91AB6EA3-3FA0-48D1-A667-58CAAF3B0157}">
  <ds:schemaRefs/>
</ds:datastoreItem>
</file>

<file path=customXml/itemProps4.xml><?xml version="1.0" encoding="utf-8"?>
<ds:datastoreItem xmlns:ds="http://schemas.openxmlformats.org/officeDocument/2006/customXml" ds:itemID="{BFBCB3F7-860C-40CC-8532-A042390E68D6}">
  <ds:schemaRefs/>
</ds:datastoreItem>
</file>

<file path=customXml/itemProps5.xml><?xml version="1.0" encoding="utf-8"?>
<ds:datastoreItem xmlns:ds="http://schemas.openxmlformats.org/officeDocument/2006/customXml" ds:itemID="{71EEB487-3A98-4BB3-9C32-E1BF7CB2B049}">
  <ds:schemaRefs/>
</ds:datastoreItem>
</file>

<file path=customXml/itemProps6.xml><?xml version="1.0" encoding="utf-8"?>
<ds:datastoreItem xmlns:ds="http://schemas.openxmlformats.org/officeDocument/2006/customXml" ds:itemID="{A6B36AB5-24CA-4029-9FB5-25F24ED71B7F}">
  <ds:schemaRefs/>
</ds:datastoreItem>
</file>

<file path=customXml/itemProps7.xml><?xml version="1.0" encoding="utf-8"?>
<ds:datastoreItem xmlns:ds="http://schemas.openxmlformats.org/officeDocument/2006/customXml" ds:itemID="{B2E38FC4-1533-4A92-B582-8C6E853F1307}">
  <ds:schemaRefs/>
</ds:datastoreItem>
</file>

<file path=customXml/itemProps8.xml><?xml version="1.0" encoding="utf-8"?>
<ds:datastoreItem xmlns:ds="http://schemas.openxmlformats.org/officeDocument/2006/customXml" ds:itemID="{758FF650-907C-428F-AD7B-6BA9D849A6C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9</Words>
  <Application>Microsoft Office PowerPoint</Application>
  <PresentationFormat>On-screen Show (16:9)</PresentationFormat>
  <Paragraphs>87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Calibri</vt:lpstr>
      <vt:lpstr>Calibri Light</vt:lpstr>
      <vt:lpstr>Slide Master Only: November 2024</vt:lpstr>
      <vt:lpstr>think-cell Slide</vt:lpstr>
      <vt:lpstr>Presentation cover slide example: Vertical white logo on blue background</vt:lpstr>
      <vt:lpstr>High level summary</vt:lpstr>
      <vt:lpstr>Potential Datasets.</vt:lpstr>
      <vt:lpstr>Data Reduction</vt:lpstr>
      <vt:lpstr>Data Reduction</vt:lpstr>
      <vt:lpstr>Data Reduction</vt:lpstr>
      <vt:lpstr>Additional ECG Data</vt:lpstr>
      <vt:lpstr>Additional ECG Dat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/>
  <cp:keywords/>
  <dc:description/>
  <cp:lastModifiedBy/>
  <cp:revision>1</cp:revision>
  <dcterms:created xsi:type="dcterms:W3CDTF">2025-04-03T07:07:55Z</dcterms:created>
  <dcterms:modified xsi:type="dcterms:W3CDTF">2025-04-03T12:47:2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4-11-08T14:42:31</vt:lpwstr>
  </property>
  <property fmtid="{D5CDD505-2E9C-101B-9397-08002B2CF9AE}" pid="3" name="TemplafyTenantId">
    <vt:lpwstr>philips</vt:lpwstr>
  </property>
  <property fmtid="{D5CDD505-2E9C-101B-9397-08002B2CF9AE}" pid="4" name="TemplafyTemplateId">
    <vt:lpwstr>974188468604764564</vt:lpwstr>
  </property>
  <property fmtid="{D5CDD505-2E9C-101B-9397-08002B2CF9AE}" pid="5" name="TemplafyUserProfileId">
    <vt:lpwstr>638148946507587497</vt:lpwstr>
  </property>
  <property fmtid="{D5CDD505-2E9C-101B-9397-08002B2CF9AE}" pid="6" name="TemplafyFromBlank">
    <vt:bool>false</vt:bool>
  </property>
</Properties>
</file>